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E4DF63_F4B42167.xml" ContentType="application/vnd.ms-powerpoint.comments+xml"/>
  <Override PartName="/ppt/notesSlides/notesSlide5.xml" ContentType="application/vnd.openxmlformats-officedocument.presentationml.notesSlide+xml"/>
  <Override PartName="/ppt/comments/modernComment_7FE4DF8B_D4CB4567.xml" ContentType="application/vnd.ms-powerpoint.comments+xml"/>
  <Override PartName="/ppt/notesSlides/notesSlide6.xml" ContentType="application/vnd.openxmlformats-officedocument.presentationml.notesSlide+xml"/>
  <Override PartName="/ppt/comments/modernComment_7FE4DF6F_5ECFEC68.xml" ContentType="application/vnd.ms-powerpoint.comments+xml"/>
  <Override PartName="/ppt/comments/modernComment_7FE4DF7F_9FFEA752.xml" ContentType="application/vnd.ms-powerpoint.comments+xml"/>
  <Override PartName="/ppt/comments/modernComment_7FE4DF65_56015F78.xml" ContentType="application/vnd.ms-powerpoint.comments+xml"/>
  <Override PartName="/ppt/comments/modernComment_7FE4DF6B_E06148EC.xml" ContentType="application/vnd.ms-powerpoint.comments+xml"/>
  <Override PartName="/ppt/comments/modernComment_7FE4DF89_BC1C3F6A.xml" ContentType="application/vnd.ms-powerpoint.comments+xml"/>
  <Override PartName="/ppt/comments/modernComment_7FE4DF8A_1A68F0E2.xml" ContentType="application/vnd.ms-powerpoint.comment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8"/>
  </p:notesMasterIdLst>
  <p:handoutMasterIdLst>
    <p:handoutMasterId r:id="rId29"/>
  </p:handoutMasterIdLst>
  <p:sldIdLst>
    <p:sldId id="321" r:id="rId5"/>
    <p:sldId id="2145705986" r:id="rId6"/>
    <p:sldId id="304" r:id="rId7"/>
    <p:sldId id="2145705832" r:id="rId8"/>
    <p:sldId id="2145705833" r:id="rId9"/>
    <p:sldId id="2145705826" r:id="rId10"/>
    <p:sldId id="2145705987" r:id="rId11"/>
    <p:sldId id="2145705827" r:id="rId12"/>
    <p:sldId id="2145705867" r:id="rId13"/>
    <p:sldId id="2145705839" r:id="rId14"/>
    <p:sldId id="2145705855" r:id="rId15"/>
    <p:sldId id="2145705829" r:id="rId16"/>
    <p:sldId id="2145705847" r:id="rId17"/>
    <p:sldId id="2145705868" r:id="rId18"/>
    <p:sldId id="2145705835" r:id="rId19"/>
    <p:sldId id="2145705838" r:id="rId20"/>
    <p:sldId id="2145705860" r:id="rId21"/>
    <p:sldId id="2145706001" r:id="rId22"/>
    <p:sldId id="2145705865" r:id="rId23"/>
    <p:sldId id="2145705844" r:id="rId24"/>
    <p:sldId id="2145705859" r:id="rId25"/>
    <p:sldId id="2145705866" r:id="rId26"/>
    <p:sldId id="2145706002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02469D-9C0C-C5A6-E68E-ADAFE02B4061}" name="Vo Thinh" initials="VT" userId="de732eb4ee61810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1" autoAdjust="0"/>
    <p:restoredTop sz="94660"/>
  </p:normalViewPr>
  <p:slideViewPr>
    <p:cSldViewPr snapToGrid="0">
      <p:cViewPr varScale="1">
        <p:scale>
          <a:sx n="75" d="100"/>
          <a:sy n="75" d="100"/>
        </p:scale>
        <p:origin x="58" y="2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omments/modernComment_7FE4DF63_F4B421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D9F005-04ED-4DBF-8EA0-A1F28D2A6EB0}" authorId="{6402469D-9C0C-C5A6-E68E-ADAFE02B4061}" created="2024-06-27T02:58:13.855">
    <pc:sldMkLst xmlns:pc="http://schemas.microsoft.com/office/powerpoint/2013/main/command">
      <pc:docMk/>
      <pc:sldMk cId="4105445735" sldId="2145705827"/>
    </pc:sldMkLst>
    <p188:pos x="9912350" y="3890962"/>
    <p188:replyLst>
      <p188:reply id="{E02BC1E0-28EB-4383-8E9C-6A0DAB0D8E80}" authorId="{6402469D-9C0C-C5A6-E68E-ADAFE02B4061}" created="2024-07-01T02:52:50.559">
        <p188:txBody>
          <a:bodyPr/>
          <a:lstStyle/>
          <a:p>
            <a:r>
              <a:rPr lang="en-US"/>
              <a:t>SELECT
    tag_name,
    SUM(daily_usage_count) AS total_usage_in_7_days
FROM
    tag
JOIN
    daily_tag_usage ON tag.tag_id = daily_tag_usage.tag_id
WHERE
    daily_tag_usage.date &gt;= DATEADD(day, -7, GETDATE())
GROUP BY
    tag_name
ORDER BY
    total_usage_in_7_days DESC;</a:t>
            </a:r>
          </a:p>
        </p188:txBody>
      </p188:reply>
    </p188:replyLst>
    <p188:txBody>
      <a:bodyPr/>
      <a:lstStyle/>
      <a:p>
        <a:r>
          <a:rPr lang="en-US"/>
          <a:t>1. Query for trending tag in the last 7 days
</a:t>
        </a:r>
      </a:p>
    </p188:txBody>
  </p188:cm>
  <p188:cm id="{5A7327A7-B7D0-4E73-8ECE-2E23078C235A}" authorId="{6402469D-9C0C-C5A6-E68E-ADAFE02B4061}" created="2024-06-28T06:47:30.921">
    <pc:sldMkLst xmlns:pc="http://schemas.microsoft.com/office/powerpoint/2013/main/command">
      <pc:docMk/>
      <pc:sldMk cId="4105445735" sldId="2145705827"/>
    </pc:sldMkLst>
    <p188:pos x="9182100" y="1917700"/>
    <p188:replyLst>
      <p188:reply id="{67954989-80FF-4748-8F94-EB531F9B8EFA}" authorId="{6402469D-9C0C-C5A6-E68E-ADAFE02B4061}" created="2024-06-28T06:51:43.455">
        <p188:txBody>
          <a:bodyPr/>
          <a:lstStyle/>
          <a:p>
            <a:r>
              <a:rPr lang="en-US"/>
              <a:t>SELECT TOP 1 rating
FROM platform_rating
ORDER BY rating DESC;</a:t>
            </a:r>
          </a:p>
        </p188:txBody>
      </p188:reply>
    </p188:replyLst>
    <p188:txBody>
      <a:bodyPr/>
      <a:lstStyle/>
      <a:p>
        <a:r>
          <a:rPr lang="en-US"/>
          <a:t>2. Platform rating</a:t>
        </a:r>
      </a:p>
    </p188:txBody>
  </p188:cm>
  <p188:cm id="{874D7070-441C-49FC-9DE7-3D001769DC4F}" authorId="{6402469D-9C0C-C5A6-E68E-ADAFE02B4061}" created="2024-06-28T06:53:08.618">
    <pc:sldMkLst xmlns:pc="http://schemas.microsoft.com/office/powerpoint/2013/main/command">
      <pc:docMk/>
      <pc:sldMk cId="4105445735" sldId="2145705827"/>
    </pc:sldMkLst>
    <p188:pos x="8877300" y="4502150"/>
    <p188:replyLst>
      <p188:reply id="{D6EE8B87-D694-45A8-9F06-8CCEF5F6A89B}" authorId="{6402469D-9C0C-C5A6-E68E-ADAFE02B4061}" created="2024-06-28T06:55:47.039">
        <p188:txBody>
          <a:bodyPr/>
          <a:lstStyle/>
          <a:p>
            <a:r>
              <a:rPr lang="en-US"/>
              <a:t>SELECT p.post_id, p.content, u.id AS user_id, u.name AS username
FROM post p
INNER JOIN [user] u ON p.user_id = u.id
WHERE u.industry_id = (SELECT industry_id FROM [user] WHERE id = 1)
ORDER BY p.views DESC;</a:t>
            </a:r>
          </a:p>
        </p188:txBody>
      </p188:reply>
    </p188:replyLst>
    <p188:txBody>
      <a:bodyPr/>
      <a:lstStyle/>
      <a:p>
        <a:r>
          <a:rPr lang="en-US"/>
          <a:t>3. Feature posts</a:t>
        </a:r>
      </a:p>
    </p188:txBody>
  </p188:cm>
  <p188:cm id="{E37CB418-6805-4401-8DEF-50A7FF91037A}" authorId="{6402469D-9C0C-C5A6-E68E-ADAFE02B4061}" created="2024-06-28T06:56:00.651">
    <pc:sldMkLst xmlns:pc="http://schemas.microsoft.com/office/powerpoint/2013/main/command">
      <pc:docMk/>
      <pc:sldMk cId="4105445735" sldId="2145705827"/>
    </pc:sldMkLst>
    <p188:pos x="9255125" y="4410075"/>
    <p188:replyLst>
      <p188:reply id="{7A370457-1FFB-47AA-A0F2-51A53EE486C2}" authorId="{6402469D-9C0C-C5A6-E68E-ADAFE02B4061}" created="2024-06-28T06:57:53.168">
        <p188:txBody>
          <a:bodyPr/>
          <a:lstStyle/>
          <a:p>
            <a:r>
              <a:rPr lang="en-US"/>
              <a:t>SELECT p.display_image, p.name, u.name, p.post_date
FROM post p
JOIN [user] u ON p.user_id = u.id
WHERE u.Industry = (SELECT Industry FROM [user] WHERE id = 1)
ORDER BY p.likes, p.comments, p.shares DESC;</a:t>
            </a:r>
          </a:p>
        </p188:txBody>
      </p188:reply>
    </p188:replyLst>
    <p188:txBody>
      <a:bodyPr/>
      <a:lstStyle/>
      <a:p>
        <a:r>
          <a:rPr lang="en-US"/>
          <a:t>4. Trending posts</a:t>
        </a:r>
      </a:p>
    </p188:txBody>
  </p188:cm>
  <p188:cm id="{CC48693E-F0A6-4A29-9825-CCD573CB080E}" authorId="{6402469D-9C0C-C5A6-E68E-ADAFE02B4061}" created="2024-06-28T06:58:33.182">
    <pc:sldMkLst xmlns:pc="http://schemas.microsoft.com/office/powerpoint/2013/main/command">
      <pc:docMk/>
      <pc:sldMk cId="4105445735" sldId="2145705827"/>
    </pc:sldMkLst>
    <p188:pos x="9788525" y="4400550"/>
    <p188:replyLst>
      <p188:reply id="{E85EB105-801B-4EE8-AB94-276AD4D2B3DF}" authorId="{6402469D-9C0C-C5A6-E68E-ADAFE02B4061}" created="2024-06-28T07:00:25.558">
        <p188:txBody>
          <a:bodyPr/>
          <a:lstStyle/>
          <a:p>
            <a:r>
              <a:rPr lang="en-US"/>
              <a:t>SELECT u.name, u.profile_pic, p.content, p.views
FROM [user] u
JOIN post p ON u.id = p.user_id
WHERE p.post_date &gt;= DATEADD(DAY, -7, GETDATE())
ORDER BY p.views DESC;</a:t>
            </a:r>
          </a:p>
        </p188:txBody>
      </p188:reply>
    </p188:replyLst>
    <p188:txBody>
      <a:bodyPr/>
      <a:lstStyle/>
      <a:p>
        <a:r>
          <a:rPr lang="en-US"/>
          <a:t>5. Rising authors</a:t>
        </a:r>
      </a:p>
    </p188:txBody>
  </p188:cm>
  <p188:cm id="{A32F7EA8-9028-4969-9148-369E2C3F825D}" authorId="{6402469D-9C0C-C5A6-E68E-ADAFE02B4061}" created="2024-07-04T02:49:57.328">
    <pc:sldMkLst xmlns:pc="http://schemas.microsoft.com/office/powerpoint/2013/main/command">
      <pc:docMk/>
      <pc:sldMk cId="4105445735" sldId="2145705827"/>
    </pc:sldMkLst>
    <p188:replyLst>
      <p188:reply id="{947A03E8-7420-482D-BC73-44B2DD69805F}" authorId="{6402469D-9C0C-C5A6-E68E-ADAFE02B4061}" created="2024-07-04T07:09:59.138">
        <p188:txBody>
          <a:bodyPr/>
          <a:lstStyle/>
          <a:p>
            <a:r>
              <a:rPr lang="en-US"/>
              <a:t>Featured: Directs users towards content the platform considers valuable or interesting.
Trending: Provides a glimpse into what's currently capturing the platform's user base.</a:t>
            </a:r>
          </a:p>
        </p188:txBody>
      </p188:reply>
    </p188:replyLst>
    <p188:txBody>
      <a:bodyPr/>
      <a:lstStyle/>
      <a:p>
        <a:endParaRPr lang="en-US"/>
      </a:p>
    </p188:txBody>
  </p188:cm>
</p188:cmLst>
</file>

<file path=ppt/comments/modernComment_7FE4DF65_56015F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1C46C5-1C59-45C0-8686-15C10C77B8A3}" authorId="{6402469D-9C0C-C5A6-E68E-ADAFE02B4061}" created="2024-06-28T09:18:30.058">
    <pc:sldMkLst xmlns:pc="http://schemas.microsoft.com/office/powerpoint/2013/main/command">
      <pc:docMk/>
      <pc:sldMk cId="1442930552" sldId="2145705829"/>
    </pc:sldMkLst>
    <p188:pos x="7099300" y="1171575"/>
    <p188:replyLst>
      <p188:reply id="{7FF86EA7-5F08-45DB-B8DC-1F47E591D4E8}" authorId="{6402469D-9C0C-C5A6-E68E-ADAFE02B4061}" created="2024-06-28T09:18:31.986">
        <p188:txBody>
          <a:bodyPr/>
          <a:lstStyle/>
          <a:p>
            <a:r>
              <a:rPr lang="en-US"/>
              <a:t>SELECT *
FROM network
WHERE user_id = 1;</a:t>
            </a:r>
          </a:p>
        </p188:txBody>
      </p188:reply>
    </p188:replyLst>
    <p188:txBody>
      <a:bodyPr/>
      <a:lstStyle/>
      <a:p>
        <a:r>
          <a:rPr lang="en-US"/>
          <a:t>1. Network</a:t>
        </a:r>
      </a:p>
    </p188:txBody>
  </p188:cm>
  <p188:cm id="{380B6D66-9748-41F7-9ADE-9C89C930EA84}" authorId="{6402469D-9C0C-C5A6-E68E-ADAFE02B4061}" created="2024-06-28T09:22:41.649">
    <pc:sldMkLst xmlns:pc="http://schemas.microsoft.com/office/powerpoint/2013/main/command">
      <pc:docMk/>
      <pc:sldMk cId="1442930552" sldId="2145705829"/>
    </pc:sldMkLst>
    <p188:pos x="9918700" y="1311275"/>
    <p188:replyLst>
      <p188:reply id="{162BD5D8-AC66-4425-9FBB-44EBFC8CA596}" authorId="{6402469D-9C0C-C5A6-E68E-ADAFE02B4061}" created="2024-06-28T09:22:44.205">
        <p188:txBody>
          <a:bodyPr/>
          <a:lstStyle/>
          <a:p>
            <a:r>
              <a:rPr lang="en-US"/>
              <a:t>SELECT u.name, u.role, u.phone_number, u.email
FROM [user] AS u
JOIN connection AS c ON u.id = c.connector_id
WHERE c.receiver_id = 1;</a:t>
            </a:r>
          </a:p>
        </p188:txBody>
      </p188:reply>
    </p188:replyLst>
    <p188:txBody>
      <a:bodyPr/>
      <a:lstStyle/>
      <a:p>
        <a:r>
          <a:rPr lang="en-US"/>
          <a:t>2. User that connects to user with id = 1</a:t>
        </a:r>
      </a:p>
    </p188:txBody>
  </p188:cm>
  <p188:cm id="{AE1EE682-B0B9-45B3-AF1E-72EAA5D94BD2}" authorId="{6402469D-9C0C-C5A6-E68E-ADAFE02B4061}" created="2024-06-28T09:37:49.668">
    <pc:sldMkLst xmlns:pc="http://schemas.microsoft.com/office/powerpoint/2013/main/command">
      <pc:docMk/>
      <pc:sldMk cId="1442930552" sldId="2145705829"/>
    </pc:sldMkLst>
    <p188:pos x="9210675" y="3216275"/>
    <p188:replyLst>
      <p188:reply id="{E3C5057E-9E6A-4122-8A1C-3CF2EFAC9909}" authorId="{6402469D-9C0C-C5A6-E68E-ADAFE02B4061}" created="2024-06-28T09:39:32.968">
        <p188:txBody>
          <a:bodyPr/>
          <a:lstStyle/>
          <a:p>
            <a:r>
              <a:rPr lang="en-US"/>
              <a:t>SELECT u.name, u.role, u.phone_number, u.email
FROM [user] u
JOIN activity a ON u.id = a.target_id
WHERE a.user_id = 1
  AND a.activity_date BETWEEN DATEADD(DAY, -7, GETDATE()) AND GETDATE()
  AND a.activity_name IN ('like', 'share', 'comment');</a:t>
            </a:r>
          </a:p>
        </p188:txBody>
      </p188:reply>
    </p188:replyLst>
    <p188:txBody>
      <a:bodyPr/>
      <a:lstStyle/>
      <a:p>
        <a:r>
          <a:rPr lang="en-US"/>
          <a:t>3. People u may know...</a:t>
        </a:r>
      </a:p>
    </p188:txBody>
  </p188:cm>
</p188:cmLst>
</file>

<file path=ppt/comments/modernComment_7FE4DF6B_E0614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596180-9EA3-4E28-A0B1-63AFC8EE0F22}" authorId="{6402469D-9C0C-C5A6-E68E-ADAFE02B4061}" created="2024-06-28T09:45:32.252">
    <pc:sldMkLst xmlns:pc="http://schemas.microsoft.com/office/powerpoint/2013/main/command">
      <pc:docMk/>
      <pc:sldMk cId="3764472044" sldId="2145705835"/>
    </pc:sldMkLst>
    <p188:replyLst>
      <p188:reply id="{15C769EF-64D5-44F0-9B52-72EC9DBE4142}" authorId="{6402469D-9C0C-C5A6-E68E-ADAFE02B4061}" created="2024-06-28T09:45:33.791">
        <p188:txBody>
          <a:bodyPr/>
          <a:lstStyle/>
          <a:p>
            <a:r>
              <a:rPr lang="en-US"/>
              <a:t>select * from event;</a:t>
            </a:r>
          </a:p>
        </p188:txBody>
      </p188:reply>
    </p188:replyLst>
    <p188:txBody>
      <a:bodyPr/>
      <a:lstStyle/>
      <a:p>
        <a:r>
          <a:rPr lang="en-US"/>
          <a:t>1. Events</a:t>
        </a:r>
      </a:p>
    </p188:txBody>
  </p188:cm>
</p188:cmLst>
</file>

<file path=ppt/comments/modernComment_7FE4DF6F_5ECFEC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DA9DCC-5E35-4117-B02C-D1D77CDFB928}" authorId="{6402469D-9C0C-C5A6-E68E-ADAFE02B4061}" created="2024-06-25T11:49:11.492">
    <pc:sldMkLst xmlns:pc="http://schemas.microsoft.com/office/powerpoint/2013/main/command">
      <pc:docMk/>
      <pc:sldMk cId="1590684776" sldId="2145705839"/>
    </pc:sldMkLst>
    <p188:pos x="10280650" y="1670050"/>
    <p188:replyLst>
      <p188:reply id="{A8EC80E2-E94C-459E-8B9A-E9DE1E85C31A}" authorId="{6402469D-9C0C-C5A6-E68E-ADAFE02B4061}" created="2024-07-01T08:30:46.185">
        <p188:txBody>
          <a:bodyPr/>
          <a:lstStyle/>
          <a:p>
            <a:r>
              <a:rPr lang="en-US"/>
              <a:t>SELECT TOP 5 *
FROM post
WHERE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1. What are the popular posts in 7d span?
</a:t>
        </a:r>
      </a:p>
    </p188:txBody>
  </p188:cm>
  <p188:cm id="{278BA90C-43BD-424C-8A16-8E7B22AE9977}" authorId="{6402469D-9C0C-C5A6-E68E-ADAFE02B4061}" created="2024-06-25T11:53:54.311">
    <pc:sldMkLst xmlns:pc="http://schemas.microsoft.com/office/powerpoint/2013/main/command">
      <pc:docMk/>
      <pc:sldMk cId="1590684776" sldId="2145705839"/>
    </pc:sldMkLst>
    <p188:pos x="10671175" y="5089525"/>
    <p188:replyLst>
      <p188:reply id="{4C0C0A47-D53C-4B2B-9A1E-9E32199B55BA}" authorId="{6402469D-9C0C-C5A6-E68E-ADAFE02B4061}" created="2024-07-01T08:40:10.411">
        <p188:txBody>
          <a:bodyPr/>
          <a:lstStyle/>
          <a:p>
            <a:r>
              <a:rPr lang="en-US"/>
              <a:t>SELECT u.id, MAX(CAST(u.profile_pic AS NVARCHAR(MAX))) AS profile_pic, u.name, COUNT(f.followee_id) AS follower_count
FROM [user] u
LEFT JOIN follow f ON u.id = f.follower_id
WHERE u.id &lt;&gt; 1 AND u.Industry = (SELECT Industry FROM [user] WHERE id = 1)
GROUP BY u.id, u.name
ORDER BY follower_count DESC;</a:t>
            </a:r>
          </a:p>
        </p188:txBody>
      </p188:reply>
    </p188:replyLst>
    <p188:txBody>
      <a:bodyPr/>
      <a:lstStyle/>
      <a:p>
        <a:r>
          <a:rPr lang="en-US"/>
          <a:t>2. What are the "People to follow"?
</a:t>
        </a:r>
      </a:p>
    </p188:txBody>
  </p188:cm>
  <p188:cm id="{46C4B787-1E76-4B44-80F5-286A52967B18}" authorId="{6402469D-9C0C-C5A6-E68E-ADAFE02B4061}" created="2024-06-28T04:22:02.606">
    <pc:sldMkLst xmlns:pc="http://schemas.microsoft.com/office/powerpoint/2013/main/command">
      <pc:docMk/>
      <pc:sldMk cId="1590684776" sldId="2145705839"/>
    </pc:sldMkLst>
    <p188:pos x="5934075" y="1060450"/>
    <p188:replyLst>
      <p188:reply id="{B9D587EB-C1DB-4EA8-8771-CAF9457BEF71}" authorId="{6402469D-9C0C-C5A6-E68E-ADAFE02B4061}" created="2024-07-01T08:41:15.793">
        <p188:txBody>
          <a:bodyPr/>
          <a:lstStyle/>
          <a:p>
            <a:r>
              <a:rPr lang="en-US"/>
              <a:t>SELECT p.*, u.Industry, u.profile_pic
FROM post p
JOIN [user] u ON p.user_id = u.id
WHERE u.Industry = (SELECT Industry FROM [user] WHERE id = 1)
  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3. "4u" posts with the post_date is within 1hr
</a:t>
        </a:r>
      </a:p>
    </p188:txBody>
  </p188:cm>
  <p188:cm id="{F1D4B256-BCD7-4F3D-93B9-8CC56D919F5F}" authorId="{6402469D-9C0C-C5A6-E68E-ADAFE02B4061}" created="2024-06-28T04:39:33.975">
    <pc:sldMkLst xmlns:pc="http://schemas.microsoft.com/office/powerpoint/2013/main/command">
      <pc:docMk/>
      <pc:sldMk cId="1590684776" sldId="2145705839"/>
    </pc:sldMkLst>
    <p188:pos x="6492875" y="1162049"/>
    <p188:replyLst>
      <p188:reply id="{4C333D77-1AC0-45B8-8CE9-6D93944A4A1F}" authorId="{6402469D-9C0C-C5A6-E68E-ADAFE02B4061}" created="2024-07-01T08:41:47.900">
        <p188:txBody>
          <a:bodyPr/>
          <a:lstStyle/>
          <a:p>
            <a:r>
              <a:rPr lang="en-US"/>
              <a:t>SELECT p.*
FROM post p
JOIN sub s ON p.user_id = s.publisher_id
WHERE s.subcriber_id = 1 
AND p.post_date BETWEEN DATEADD(HOUR, -1, p.post_date) AND p.post_date;</a:t>
            </a:r>
          </a:p>
        </p188:txBody>
      </p188:reply>
    </p188:replyLst>
    <p188:txBody>
      <a:bodyPr/>
      <a:lstStyle/>
      <a:p>
        <a:r>
          <a:rPr lang="en-US"/>
          <a:t>4. "Subcribed" posts with the post_date is within 1hr
</a:t>
        </a:r>
      </a:p>
    </p188:txBody>
  </p188:cm>
</p188:cmLst>
</file>

<file path=ppt/comments/modernComment_7FE4DF7F_9FFEA7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9EE32C8-CB53-43C3-97E6-B636120AF715}" authorId="{6402469D-9C0C-C5A6-E68E-ADAFE02B4061}" created="2024-06-28T06:25:55.230">
    <pc:sldMkLst xmlns:pc="http://schemas.microsoft.com/office/powerpoint/2013/main/command">
      <pc:docMk/>
      <pc:sldMk cId="2684266322" sldId="2145705855"/>
    </pc:sldMkLst>
    <p188:pos x="6661150" y="1752600"/>
    <p188:replyLst>
      <p188:reply id="{0E85A51D-DA49-40B8-AC14-2B4996EB44AE}" authorId="{6402469D-9C0C-C5A6-E68E-ADAFE02B4061}" created="2024-06-28T06:31:38.008">
        <p188:txBody>
          <a:bodyPr/>
          <a:lstStyle/>
          <a:p>
            <a:r>
              <a:rPr lang="en-US"/>
              <a:t>SELECT name, display_image
FROM post
WHERE post_date BETWEEN DATEADD(DAY, -7, post_date) AND post_date
ORDER BY likes DESC
OFFSET 0 ROWS FETCH NEXT 3 ROWS ONLY;</a:t>
            </a:r>
          </a:p>
        </p188:txBody>
      </p188:reply>
    </p188:replyLst>
    <p188:txBody>
      <a:bodyPr/>
      <a:lstStyle/>
      <a:p>
        <a:r>
          <a:rPr lang="en-US"/>
          <a:t>1. Readers's choices
</a:t>
        </a:r>
      </a:p>
    </p188:txBody>
  </p188:cm>
  <p188:cm id="{6C946E57-4CBC-4BF7-8498-4B2423FFC3A5}" authorId="{6402469D-9C0C-C5A6-E68E-ADAFE02B4061}" created="2024-06-28T06:26:12.291">
    <pc:sldMkLst xmlns:pc="http://schemas.microsoft.com/office/powerpoint/2013/main/command">
      <pc:docMk/>
      <pc:sldMk cId="2684266322" sldId="2145705855"/>
    </pc:sldMkLst>
    <p188:pos x="7566025" y="1301750"/>
    <p188:replyLst>
      <p188:reply id="{764445B4-4EC4-4FFB-9893-1BD224557A88}" authorId="{6402469D-9C0C-C5A6-E68E-ADAFE02B4061}" created="2024-06-28T06:31:23.256">
        <p188:txBody>
          <a:bodyPr/>
          <a:lstStyle/>
          <a:p>
            <a:r>
              <a:rPr lang="en-US"/>
              <a:t>SELECT TOP 3 tag_name
FROM tag t
WHERE t.last_used BETWEEN DATEADD(DAY, -7, t.last_used) AND t.last_used
ORDER BY usage_count DESC;</a:t>
            </a:r>
          </a:p>
        </p188:txBody>
      </p188:reply>
    </p188:replyLst>
    <p188:txBody>
      <a:bodyPr/>
      <a:lstStyle/>
      <a:p>
        <a:r>
          <a:rPr lang="en-US"/>
          <a:t>2. Trending keywords</a:t>
        </a:r>
      </a:p>
    </p188:txBody>
  </p188:cm>
  <p188:cm id="{5D5A35F4-A622-49F2-AD17-A55EA94E9C65}" authorId="{6402469D-9C0C-C5A6-E68E-ADAFE02B4061}" created="2024-06-28T06:32:44.591">
    <pc:sldMkLst xmlns:pc="http://schemas.microsoft.com/office/powerpoint/2013/main/command">
      <pc:docMk/>
      <pc:sldMk cId="2684266322" sldId="2145705855"/>
    </pc:sldMkLst>
    <p188:pos x="6829425" y="6007100"/>
    <p188:replyLst>
      <p188:reply id="{6B6D46C2-6CFE-4241-92D4-5B8E88A04126}" authorId="{6402469D-9C0C-C5A6-E68E-ADAFE02B4061}" created="2024-06-28T06:32:46.915">
        <p188:txBody>
          <a:bodyPr/>
          <a:lstStyle/>
          <a:p>
            <a:r>
              <a:rPr lang="en-US"/>
              <a:t>SELECT tag_name FROM tag t
ORDER BY usage_count DESC 
;</a:t>
            </a:r>
          </a:p>
        </p188:txBody>
      </p188:reply>
    </p188:replyLst>
    <p188:txBody>
      <a:bodyPr/>
      <a:lstStyle/>
      <a:p>
        <a:r>
          <a:rPr lang="en-US"/>
          <a:t>3. Most talked about tag</a:t>
        </a:r>
      </a:p>
    </p188:txBody>
  </p188:cm>
  <p188:cm id="{27930529-D60A-4A25-BA9C-EC3FA9659188}" authorId="{6402469D-9C0C-C5A6-E68E-ADAFE02B4061}" created="2024-06-28T06:44:38.521">
    <pc:sldMkLst xmlns:pc="http://schemas.microsoft.com/office/powerpoint/2013/main/command">
      <pc:docMk/>
      <pc:sldMk cId="2684266322" sldId="2145705855"/>
    </pc:sldMkLst>
    <p188:pos x="6559550" y="3524250"/>
    <p188:replyLst>
      <p188:reply id="{B006958A-7828-4C40-81AB-BD16E20FE194}" authorId="{6402469D-9C0C-C5A6-E68E-ADAFE02B4061}" created="2024-06-28T06:46:10.366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4. Rising mentor</a:t>
        </a:r>
      </a:p>
    </p188:txBody>
  </p188:cm>
</p188:cmLst>
</file>

<file path=ppt/comments/modernComment_7FE4DF89_BC1C3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A145C2-5D6E-4FE1-AA17-D4237880A9EC}" authorId="{6402469D-9C0C-C5A6-E68E-ADAFE02B4061}" created="2024-06-28T10:16:03.785">
    <pc:sldMkLst xmlns:pc="http://schemas.microsoft.com/office/powerpoint/2013/main/command">
      <pc:docMk/>
      <pc:sldMk cId="3155967850" sldId="2145705865"/>
    </pc:sldMkLst>
    <p188:pos x="6121400" y="901700"/>
    <p188:replyLst>
      <p188:reply id="{6505AB57-0F56-418A-A013-B732F9890258}" authorId="{6402469D-9C0C-C5A6-E68E-ADAFE02B4061}" created="2024-06-28T10:16:05.125">
        <p188:txBody>
          <a:bodyPr/>
          <a:lstStyle/>
          <a:p>
            <a:r>
              <a:rPr lang="en-US"/>
              <a:t>SELECT *
FROM job;</a:t>
            </a:r>
          </a:p>
        </p188:txBody>
      </p188:reply>
    </p188:replyLst>
    <p188:txBody>
      <a:bodyPr/>
      <a:lstStyle/>
      <a:p>
        <a:r>
          <a:rPr lang="en-US"/>
          <a:t>1. Jobs</a:t>
        </a:r>
      </a:p>
    </p188:txBody>
  </p188:cm>
</p188:cmLst>
</file>

<file path=ppt/comments/modernComment_7FE4DF8A_1A68F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BB9B43-A67E-4D21-9853-A7647A5C749B}" authorId="{6402469D-9C0C-C5A6-E68E-ADAFE02B4061}" created="2024-06-28T09:47:47.998">
    <pc:sldMkLst xmlns:pc="http://schemas.microsoft.com/office/powerpoint/2013/main/command">
      <pc:docMk/>
      <pc:sldMk cId="443085026" sldId="2145705866"/>
    </pc:sldMkLst>
    <p188:pos x="6540500" y="882650"/>
    <p188:replyLst>
      <p188:reply id="{55EC9FA8-C1ED-44F3-9F46-B4421DE99F76}" authorId="{6402469D-9C0C-C5A6-E68E-ADAFE02B4061}" created="2024-06-28T09:47:49.784">
        <p188:txBody>
          <a:bodyPr/>
          <a:lstStyle/>
          <a:p>
            <a:r>
              <a:rPr lang="en-US"/>
              <a:t>SELECT COUNT(*) AS follower_count
FROM follow
WHERE followee_id = 1;</a:t>
            </a:r>
          </a:p>
        </p188:txBody>
      </p188:reply>
    </p188:replyLst>
    <p188:txBody>
      <a:bodyPr/>
      <a:lstStyle/>
      <a:p>
        <a:r>
          <a:rPr lang="en-US"/>
          <a:t>1. Number of followers?</a:t>
        </a:r>
      </a:p>
    </p188:txBody>
  </p188:cm>
  <p188:cm id="{7020571A-C195-4F77-94E2-02A18F9D77E7}" authorId="{6402469D-9C0C-C5A6-E68E-ADAFE02B4061}" created="2024-06-28T09:59:22.064">
    <pc:sldMkLst xmlns:pc="http://schemas.microsoft.com/office/powerpoint/2013/main/command">
      <pc:docMk/>
      <pc:sldMk cId="443085026" sldId="2145705866"/>
    </pc:sldMkLst>
    <p188:pos x="8648700" y="987425"/>
    <p188:replyLst>
      <p188:reply id="{CEA49020-46F9-4478-A63A-EA2F247CA609}" authorId="{6402469D-9C0C-C5A6-E68E-ADAFE02B4061}" created="2024-06-28T09:59:23.988">
        <p188:txBody>
          <a:bodyPr/>
          <a:lstStyle/>
          <a:p>
            <a:r>
              <a:rPr lang="en-US"/>
              <a:t>SELECT
  SUM(l.reaction_count) AS total_likes,
  SUM(s.reaction_count) AS total_shares,
  SUM(c.reaction_count) AS total_comments
FROM post AS p
LEFT JOIN [like] AS l ON p.post_id = l.post_id
LEFT JOIN share AS s ON p.post_id = s.post_id
LEFT JOIN comment AS c ON p.post_id = c.post_id
WHERE p.user_id = 1;</a:t>
            </a:r>
          </a:p>
        </p188:txBody>
      </p188:reply>
    </p188:replyLst>
    <p188:txBody>
      <a:bodyPr/>
      <a:lstStyle/>
      <a:p>
        <a:r>
          <a:rPr lang="en-US"/>
          <a:t>2. Number of like, share and comment</a:t>
        </a:r>
      </a:p>
    </p188:txBody>
  </p188:cm>
  <p188:cm id="{43824E07-08F1-4AFC-9B4F-598AE7947F5B}" authorId="{6402469D-9C0C-C5A6-E68E-ADAFE02B4061}" created="2024-06-28T10:03:16.007">
    <pc:sldMkLst xmlns:pc="http://schemas.microsoft.com/office/powerpoint/2013/main/command">
      <pc:docMk/>
      <pc:sldMk cId="443085026" sldId="2145705866"/>
    </pc:sldMkLst>
    <p188:pos x="10563225" y="1816100"/>
    <p188:replyLst>
      <p188:reply id="{EE2750EB-C475-4025-8B6C-EB3037AA31BB}" authorId="{6402469D-9C0C-C5A6-E68E-ADAFE02B4061}" created="2024-06-28T10:03:18.674">
        <p188:txBody>
          <a:bodyPr/>
          <a:lstStyle/>
          <a:p>
            <a:r>
              <a:rPr lang="en-US"/>
              <a:t>WITH FollowerStats AS (
  SELECT
    u.gender,
    CASE
      WHEN u.age BETWEEN 20 AND 29 THEN '20-29'
      WHEN u.age BETWEEN 30 AND 39 THEN '30-39'
      ELSE 'Other'
    END AS age_range
  FROM [user] u
  JOIN follow f ON u.id = f.follower_id
  WHERE f.followee_id = 1
)
SELECT
  gender,
  age_range,
  COUNT(*) AS follower_count,
  ROUND(COUNT(*) * 100.0 / SUM(COUNT(*)) OVER (), 2) AS percentage
FROM FollowerStats
GROUP BY gender, age_range
ORDER BY gender, age_range;</a:t>
            </a:r>
          </a:p>
        </p188:txBody>
      </p188:reply>
    </p188:replyLst>
    <p188:txBody>
      <a:bodyPr/>
      <a:lstStyle/>
      <a:p>
        <a:r>
          <a:rPr lang="en-US"/>
          <a:t>3. Age and gender %</a:t>
        </a:r>
      </a:p>
    </p188:txBody>
  </p188:cm>
  <p188:cm id="{4B568475-FCAE-4322-9A7A-924C738B2677}" authorId="{6402469D-9C0C-C5A6-E68E-ADAFE02B4061}" created="2024-06-28T10:08:20.936">
    <pc:sldMkLst xmlns:pc="http://schemas.microsoft.com/office/powerpoint/2013/main/command">
      <pc:docMk/>
      <pc:sldMk cId="443085026" sldId="2145705866"/>
    </pc:sldMkLst>
    <p188:pos x="10741025" y="3467100"/>
    <p188:replyLst>
      <p188:reply id="{6F03FA82-35F8-4264-A727-A4B3B7EF2937}" authorId="{6402469D-9C0C-C5A6-E68E-ADAFE02B4061}" created="2024-06-28T10:08:23.538">
        <p188:txBody>
          <a:bodyPr/>
          <a:lstStyle/>
          <a:p>
            <a:r>
              <a:rPr lang="en-US"/>
              <a:t>WITH FollowerCountries AS (
  SELECT country
  FROM [user]
  WHERE id IN (
    SELECT follower_id
    FROM follow
    WHERE followee_id = 1
  )
    AND country IS NOT NULL -- Exclude null values (if any)
)
SELECT
  country,
  COUNT(*) AS follower_count,
  ROUND(COUNT(*) * 100.0 / SUM(COUNT(*)) OVER (), 2) AS percentage
FROM FollowerCountries
GROUP BY country;</a:t>
            </a:r>
          </a:p>
        </p188:txBody>
      </p188:reply>
    </p188:replyLst>
    <p188:txBody>
      <a:bodyPr/>
      <a:lstStyle/>
      <a:p>
        <a:r>
          <a:rPr lang="en-US"/>
          <a:t>4. Country %</a:t>
        </a:r>
      </a:p>
    </p188:txBody>
  </p188:cm>
  <p188:cm id="{270E4362-133E-4AAE-8FB4-372C36B6D008}" authorId="{6402469D-9C0C-C5A6-E68E-ADAFE02B4061}" created="2024-06-28T10:13:44.377">
    <pc:sldMkLst xmlns:pc="http://schemas.microsoft.com/office/powerpoint/2013/main/command">
      <pc:docMk/>
      <pc:sldMk cId="443085026" sldId="2145705866"/>
    </pc:sldMkLst>
    <p188:pos x="7848600" y="4159250"/>
    <p188:replyLst>
      <p188:reply id="{351E852A-3BB1-4111-9236-B6D19A23B542}" authorId="{6402469D-9C0C-C5A6-E68E-ADAFE02B4061}" created="2024-06-28T10:13:46.910">
        <p188:txBody>
          <a:bodyPr/>
          <a:lstStyle/>
          <a:p>
            <a:r>
              <a:rPr lang="en-US"/>
              <a:t>SELECT *
FROM post
WHERE user_id = 1
AND post_date &gt;= DATEADD(DAY, -7, CAST(GETDATE() AS DATE))
ORDER BY views DESC;</a:t>
            </a:r>
          </a:p>
        </p188:txBody>
      </p188:reply>
    </p188:replyLst>
    <p188:txBody>
      <a:bodyPr/>
      <a:lstStyle/>
      <a:p>
        <a:r>
          <a:rPr lang="en-US"/>
          <a:t>5. Recent top Posts</a:t>
        </a:r>
      </a:p>
    </p188:txBody>
  </p188:cm>
  <p188:cm id="{1F47D1B4-DD19-436C-BE0C-D280DB0DD7CD}" authorId="{6402469D-9C0C-C5A6-E68E-ADAFE02B4061}" created="2024-06-28T10:15:03.180">
    <pc:sldMkLst xmlns:pc="http://schemas.microsoft.com/office/powerpoint/2013/main/command">
      <pc:docMk/>
      <pc:sldMk cId="443085026" sldId="2145705866"/>
    </pc:sldMkLst>
    <p188:pos x="10861675" y="4978400"/>
    <p188:replyLst>
      <p188:reply id="{D3FCB4D1-0DFA-448A-B85D-8AA8AFA6076E}" authorId="{6402469D-9C0C-C5A6-E68E-ADAFE02B4061}" created="2024-06-28T10:15:05.467">
        <p188:txBody>
          <a:bodyPr/>
          <a:lstStyle/>
          <a:p>
            <a:r>
              <a:rPr lang="en-US"/>
              <a:t>SELECT *
FROM activity
WHERE user_id = 1
AND activity.activity_date &gt;= DATEADD(DAY, -7, CAST(GETDATE() AS DATE))
ORDER BY activity.activity_date DESC;</a:t>
            </a:r>
          </a:p>
        </p188:txBody>
      </p188:reply>
    </p188:replyLst>
    <p188:txBody>
      <a:bodyPr/>
      <a:lstStyle/>
      <a:p>
        <a:r>
          <a:rPr lang="en-US"/>
          <a:t>6. Activies</a:t>
        </a:r>
      </a:p>
    </p188:txBody>
  </p188:cm>
</p188:cmLst>
</file>

<file path=ppt/comments/modernComment_7FE4DF8B_D4CB45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9B07D1-6B1D-4732-9D13-D8799063ABC1}" authorId="{6402469D-9C0C-C5A6-E68E-ADAFE02B4061}" created="2024-06-28T04:42:16.031">
    <pc:sldMkLst xmlns:pc="http://schemas.microsoft.com/office/powerpoint/2013/main/command">
      <pc:docMk/>
      <pc:sldMk cId="3570091367" sldId="2145705867"/>
    </pc:sldMkLst>
    <p188:pos x="5765800" y="304800"/>
    <p188:replyLst>
      <p188:reply id="{B468D19D-7575-410C-9A63-7BD1868E89BD}" authorId="{6402469D-9C0C-C5A6-E68E-ADAFE02B4061}" created="2024-07-01T08:29:19.881">
        <p188:txBody>
          <a:bodyPr/>
          <a:lstStyle/>
          <a:p>
            <a:r>
              <a:rPr lang="en-US"/>
              <a:t>SELECT Thumbnail, Name, StartTime, Location
FROM challenge
WHERE StartTime &gt;= CONVERT(DATE, GETDATE())
  AND StartTime &lt; DATEADD(DAY, 1, CONVERT(DATE, GETDATE()));</a:t>
            </a:r>
          </a:p>
        </p188:txBody>
      </p188:reply>
    </p188:replyLst>
    <p188:txBody>
      <a:bodyPr/>
      <a:lstStyle/>
      <a:p>
        <a:r>
          <a:rPr lang="en-US"/>
          <a:t>1. Upcoming challenges in 24h
</a:t>
        </a:r>
      </a:p>
    </p188:txBody>
  </p188:cm>
  <p188:cm id="{A046E03A-6B51-46A4-B38A-68CCA1D9B275}" authorId="{6402469D-9C0C-C5A6-E68E-ADAFE02B4061}" created="2024-06-28T06:47:02.617">
    <pc:sldMkLst xmlns:pc="http://schemas.microsoft.com/office/powerpoint/2013/main/command">
      <pc:docMk/>
      <pc:sldMk cId="3570091367" sldId="2145705867"/>
    </pc:sldMkLst>
    <p188:pos x="5607050" y="2946400"/>
    <p188:replyLst>
      <p188:reply id="{78AEF364-FA15-4DD1-996B-F40C5AF4E22A}" authorId="{6402469D-9C0C-C5A6-E68E-ADAFE02B4061}" created="2024-06-28T06:47:05.111">
        <p188:txBody>
          <a:bodyPr/>
          <a:lstStyle/>
          <a:p>
            <a:r>
              <a:rPr lang="en-US"/>
              <a:t>SELECT m.*, u.Industry, u.name, u.profile_pic
FROM mentor m
JOIN [user] u ON m.user_id = u.id
WHERE u.Industry = (SELECT Industry FROM [user]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2. Rising mentor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2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2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927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87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4980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03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63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F_5ECFEC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microsoft.com/office/2018/10/relationships/comments" Target="../comments/modernComment_7FE4DF7F_9FFEA75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65_56015F7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microsoft.com/office/2018/10/relationships/comments" Target="../comments/modernComment_7FE4DF6B_E06148EC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89_BC1C3F6A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microsoft.com/office/2018/10/relationships/comments" Target="../comments/modernComment_7FE4DF8A_1A68F0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3_F4B42167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8B_D4CB456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501831"/>
          </a:xfrm>
        </p:spPr>
        <p:txBody>
          <a:bodyPr vert="horz"/>
          <a:lstStyle/>
          <a:p>
            <a:r>
              <a:rPr lang="vi-VN" dirty="0"/>
              <a:t>  Fee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AE1F39-57C0-907F-7F62-6CCC44844224}"/>
              </a:ext>
            </a:extLst>
          </p:cNvPr>
          <p:cNvSpPr txBox="1"/>
          <p:nvPr/>
        </p:nvSpPr>
        <p:spPr>
          <a:xfrm>
            <a:off x="5510281" y="1396181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vi-VN" dirty="0"/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7AD204-CC6A-F24E-20DC-1B5B87C4C4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731644"/>
            <a:ext cx="5068890" cy="56137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EC09D97-2C86-0932-956B-F0D89A190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54" y="802746"/>
            <a:ext cx="6934286" cy="52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8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376841"/>
          </a:xfrm>
        </p:spPr>
        <p:txBody>
          <a:bodyPr vert="horz"/>
          <a:lstStyle/>
          <a:p>
            <a:r>
              <a:rPr lang="vi-VN" dirty="0"/>
              <a:t>  Explor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312343-A380-FF28-9D5D-EF394C5985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689" y="818785"/>
            <a:ext cx="5029902" cy="52204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785B4E-427A-5368-5F25-AA75B27C3E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591" y="84618"/>
            <a:ext cx="5712653" cy="668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474399"/>
          </a:xfrm>
        </p:spPr>
        <p:txBody>
          <a:bodyPr vert="horz"/>
          <a:lstStyle/>
          <a:p>
            <a:r>
              <a:rPr lang="en-US" dirty="0"/>
              <a:t>  My Network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E829B-C6A5-8B7E-13F2-5B884B9E8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1"/>
          <a:stretch/>
        </p:blipFill>
        <p:spPr>
          <a:xfrm>
            <a:off x="6007608" y="690113"/>
            <a:ext cx="6046080" cy="566531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13DC10-884B-ECA1-3E8B-64E4B77DBB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8284" y="484632"/>
            <a:ext cx="4381858" cy="621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3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</a:t>
            </a:r>
            <a:r>
              <a:rPr lang="en-US" dirty="0"/>
              <a:t> </a:t>
            </a:r>
            <a:br>
              <a:rPr lang="vi-VN" dirty="0"/>
            </a:br>
            <a:r>
              <a:rPr lang="en-US" dirty="0"/>
              <a:t> 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80070F-E3E8-52C8-81CE-E34369A6DE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0"/>
          <a:stretch/>
        </p:blipFill>
        <p:spPr>
          <a:xfrm>
            <a:off x="4534251" y="920737"/>
            <a:ext cx="7637621" cy="53295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533C1E-EB84-4DAD-71CB-55CC1651B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299" y="1098000"/>
            <a:ext cx="4567701" cy="412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4356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 Detail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B93397-F878-2116-AC02-CFFE35711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442" y="424644"/>
            <a:ext cx="5438128" cy="58015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3416C1-F093-2621-B86B-B8304C2F7C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697" y="934267"/>
            <a:ext cx="5007466" cy="500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3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25A5B34-4BBD-C193-03D8-9E12D019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8" r="639"/>
          <a:stretch/>
        </p:blipFill>
        <p:spPr>
          <a:xfrm>
            <a:off x="3347487" y="20466"/>
            <a:ext cx="7646703" cy="683753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en-US" dirty="0"/>
              <a:t>  Ev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9E77D-B1D8-3743-2015-1BD095A78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045" y="1015999"/>
            <a:ext cx="3617697" cy="403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7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5235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A54353-BBFE-15E4-1121-CF2CA31EEC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2"/>
          <a:stretch/>
        </p:blipFill>
        <p:spPr>
          <a:xfrm>
            <a:off x="5348784" y="-525"/>
            <a:ext cx="5599051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A99AD6-B82F-DD94-2004-8380529520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45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</a:t>
            </a:r>
            <a:r>
              <a:rPr lang="vi-VN" dirty="0"/>
              <a:t>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72AE8C-C76C-2BED-E47F-F2FC7C49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019" y="219787"/>
            <a:ext cx="5662046" cy="641842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604594E-F7AE-EECD-EA7E-496A6C6C2F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85" y="1363612"/>
            <a:ext cx="4207943" cy="47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C329D5-956E-F220-5745-516A92EC6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2158" y="9000"/>
            <a:ext cx="5707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Search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88183A-80DC-8A52-786E-F338C2D9A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7367" y="0"/>
            <a:ext cx="7277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vi-VN" dirty="0"/>
              <a:t>Social Subsystem </a:t>
            </a:r>
            <a:r>
              <a:rPr lang="en-GB" dirty="0"/>
              <a:t>|</a:t>
            </a:r>
            <a:r>
              <a:rPr lang="vi-VN" dirty="0"/>
              <a:t> Thinh Vo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MentorHub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96815"/>
          </a:xfrm>
        </p:spPr>
        <p:txBody>
          <a:bodyPr vert="horz"/>
          <a:lstStyle/>
          <a:p>
            <a:r>
              <a:rPr lang="en-US" dirty="0"/>
              <a:t>  User Profil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DF2907-13B1-E649-37C0-D2CF4422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2" t="672" r="1113"/>
          <a:stretch/>
        </p:blipFill>
        <p:spPr>
          <a:xfrm>
            <a:off x="6096000" y="802256"/>
            <a:ext cx="5913482" cy="55774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A3C16D-3245-AFC0-2415-5AF76BB5EA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0059" y="437894"/>
            <a:ext cx="4264119" cy="64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2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Edit </a:t>
            </a:r>
            <a:r>
              <a:rPr lang="en-US" dirty="0"/>
              <a:t>Profil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19753-D929-FE02-9C47-B056AB06C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" t="972" r="1028"/>
          <a:stretch/>
        </p:blipFill>
        <p:spPr>
          <a:xfrm>
            <a:off x="2838449" y="66674"/>
            <a:ext cx="6486525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1950"/>
          </a:xfrm>
        </p:spPr>
        <p:txBody>
          <a:bodyPr vert="horz"/>
          <a:lstStyle/>
          <a:p>
            <a:r>
              <a:rPr lang="en-US" dirty="0"/>
              <a:t>  Dashboar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6ABDD3-AC32-3DD6-51AF-976FA1493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937" y="756591"/>
            <a:ext cx="4820813" cy="53448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92E5A4-6F37-BA2A-CAB0-FAAC195E98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4277" y="756591"/>
            <a:ext cx="6354477" cy="599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22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 noProof="0" dirty="0"/>
          </a:p>
          <a:p>
            <a:r>
              <a:rPr lang="vi-VN" dirty="0"/>
              <a:t>Mind </a:t>
            </a:r>
            <a:r>
              <a:rPr lang="en-US" dirty="0"/>
              <a:t>Maps</a:t>
            </a:r>
            <a:endParaRPr lang="vi-VN" noProof="0" dirty="0"/>
          </a:p>
          <a:p>
            <a:r>
              <a:rPr lang="vi-VN" noProof="0" dirty="0"/>
              <a:t>Use case </a:t>
            </a:r>
          </a:p>
          <a:p>
            <a:r>
              <a:rPr lang="vi-VN" dirty="0"/>
              <a:t>UI/UX/</a:t>
            </a:r>
            <a:r>
              <a:rPr lang="en-US" dirty="0"/>
              <a:t>Database</a:t>
            </a:r>
            <a:r>
              <a:rPr lang="vi-VN" dirty="0"/>
              <a:t> </a:t>
            </a:r>
            <a:r>
              <a:rPr lang="en-US" dirty="0"/>
              <a:t>Design</a:t>
            </a:r>
            <a:endParaRPr lang="vi-VN" dirty="0"/>
          </a:p>
          <a:p>
            <a:r>
              <a:rPr lang="en-US" noProof="0" dirty="0" err="1"/>
              <a:t>QnA</a:t>
            </a:r>
            <a:endParaRPr lang="vi-VN" noProof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/>
          <a:lstStyle/>
          <a:p>
            <a:r>
              <a:rPr lang="en-GB" noProof="0" dirty="0"/>
              <a:t>  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en-US" dirty="0" err="1"/>
              <a:t>MentorHub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D2650A-B52E-2452-1829-DA6BB142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19" y="1633287"/>
            <a:ext cx="9211961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2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Social Subsystem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963CF-D075-F040-341D-EB04B67E4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38" y="1809524"/>
            <a:ext cx="5906324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41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Use Cas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EC83B8-ADD1-DFBD-41B2-F24555B98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8715" y="0"/>
            <a:ext cx="5694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Database</a:t>
            </a:r>
            <a:br>
              <a:rPr lang="en-US" dirty="0"/>
            </a:br>
            <a:r>
              <a:rPr lang="en-US" dirty="0"/>
              <a:t>  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BEBA9B-39E2-1685-F338-756D75D77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45" y="0"/>
            <a:ext cx="5523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1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487680"/>
          </a:xfrm>
        </p:spPr>
        <p:txBody>
          <a:bodyPr vert="horz"/>
          <a:lstStyle/>
          <a:p>
            <a:r>
              <a:rPr lang="vi-VN" dirty="0"/>
              <a:t>  Landing Pag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F6298F-173F-B0BA-0F2B-5A5E9F738D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977" y="487680"/>
            <a:ext cx="4099046" cy="62579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6B1B3D7-C4D6-2C5A-0570-8E4720963A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9778" y="0"/>
            <a:ext cx="57597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4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vi-VN" dirty="0"/>
              <a:t>  Landing Page</a:t>
            </a:r>
            <a:br>
              <a:rPr lang="en-US" dirty="0"/>
            </a:br>
            <a:r>
              <a:rPr lang="en-US" dirty="0"/>
              <a:t>  (cont.)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C62BF8-5B01-3BF5-8433-E6FA5B081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2767" y="-10233"/>
            <a:ext cx="735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680405e6-b67e-4188-afe9-1f6c4cc802d0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5a0a5fd8-e554-4dec-ae9e-1a78583e7e41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009</TotalTime>
  <Words>84</Words>
  <Application>Microsoft Office PowerPoint</Application>
  <PresentationFormat>Widescreen</PresentationFormat>
  <Paragraphs>34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</vt:lpstr>
      <vt:lpstr>bbv template EN</vt:lpstr>
      <vt:lpstr>think-cell Slide</vt:lpstr>
      <vt:lpstr>PowerPoint Presentation</vt:lpstr>
      <vt:lpstr>MentorHub Project</vt:lpstr>
      <vt:lpstr>  Agenda</vt:lpstr>
      <vt:lpstr>  MentorHub </vt:lpstr>
      <vt:lpstr>  Social Subsystem</vt:lpstr>
      <vt:lpstr>  Use Case</vt:lpstr>
      <vt:lpstr>  Database   </vt:lpstr>
      <vt:lpstr>  Landing Page</vt:lpstr>
      <vt:lpstr>  Landing Page   (cont.)</vt:lpstr>
      <vt:lpstr>  Feed</vt:lpstr>
      <vt:lpstr>  Explore</vt:lpstr>
      <vt:lpstr>  My Network</vt:lpstr>
      <vt:lpstr>  Group    </vt:lpstr>
      <vt:lpstr>  Group Details</vt:lpstr>
      <vt:lpstr>  Event</vt:lpstr>
      <vt:lpstr>  Jobs</vt:lpstr>
      <vt:lpstr>  Job Details</vt:lpstr>
      <vt:lpstr>  Jobs</vt:lpstr>
      <vt:lpstr>  Search Jobs</vt:lpstr>
      <vt:lpstr>  User Profile</vt:lpstr>
      <vt:lpstr>  Edit Profile</vt:lpstr>
      <vt:lpstr>  Dashboar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Vo Thinh</cp:lastModifiedBy>
  <cp:revision>66</cp:revision>
  <dcterms:created xsi:type="dcterms:W3CDTF">2023-03-02T06:20:39Z</dcterms:created>
  <dcterms:modified xsi:type="dcterms:W3CDTF">2024-07-12T10:1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